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3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8E731B-7D3A-44C3-A629-5767F846AE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DC7EF6B5-6345-F368-E2C0-32FDCAB544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7EF6B5-6345-F368-E2C0-32FDCAB544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4FE9E0-9FD9-6AB1-2E5F-7E1A324B00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2F4926-C79C-021C-604C-8477B75EA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B337F4E3-CF52-8897-8137-532C76A3C233}"/>
              </a:ext>
            </a:extLst>
          </p:cNvPr>
          <p:cNvGrpSpPr/>
          <p:nvPr/>
        </p:nvGrpSpPr>
        <p:grpSpPr>
          <a:xfrm>
            <a:off x="550862" y="1219200"/>
            <a:ext cx="11053761" cy="531024"/>
            <a:chOff x="550862" y="1219200"/>
            <a:chExt cx="11053761" cy="531024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1B8064F-5CF0-C6C1-BAAE-75208940451A}"/>
                </a:ext>
              </a:extLst>
            </p:cNvPr>
            <p:cNvSpPr/>
            <p:nvPr/>
          </p:nvSpPr>
          <p:spPr>
            <a:xfrm>
              <a:off x="550862" y="1219200"/>
              <a:ext cx="10272648" cy="5310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2000" b="1" dirty="0">
                  <a:cs typeface="Arial" panose="020B0604020202020204" pitchFamily="34" charset="0"/>
                </a:rPr>
                <a:t>Title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B9CEE5F4-389A-722B-1CFB-CA3527117465}"/>
                </a:ext>
              </a:extLst>
            </p:cNvPr>
            <p:cNvSpPr/>
            <p:nvPr/>
          </p:nvSpPr>
          <p:spPr>
            <a:xfrm>
              <a:off x="10870163" y="1219200"/>
              <a:ext cx="734460" cy="53102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400" dirty="0">
                <a:cs typeface="Arial" panose="020B060402020202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022D480-1B79-2290-46EA-2A587DDF5BF7}"/>
              </a:ext>
            </a:extLst>
          </p:cNvPr>
          <p:cNvGrpSpPr/>
          <p:nvPr/>
        </p:nvGrpSpPr>
        <p:grpSpPr>
          <a:xfrm>
            <a:off x="550862" y="1891978"/>
            <a:ext cx="10199938" cy="450617"/>
            <a:chOff x="550862" y="1929933"/>
            <a:chExt cx="10199938" cy="450617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C2E490D-738A-709A-71AC-EEFA9BD6647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0862" y="1950146"/>
              <a:ext cx="410191" cy="410191"/>
            </a:xfrm>
            <a:custGeom>
              <a:avLst/>
              <a:gdLst>
                <a:gd name="connsiteX0" fmla="*/ 824865 w 905827"/>
                <a:gd name="connsiteY0" fmla="*/ 0 h 905827"/>
                <a:gd name="connsiteX1" fmla="*/ 80010 w 905827"/>
                <a:gd name="connsiteY1" fmla="*/ 0 h 905827"/>
                <a:gd name="connsiteX2" fmla="*/ 0 w 905827"/>
                <a:gd name="connsiteY2" fmla="*/ 80010 h 905827"/>
                <a:gd name="connsiteX3" fmla="*/ 0 w 905827"/>
                <a:gd name="connsiteY3" fmla="*/ 825818 h 905827"/>
                <a:gd name="connsiteX4" fmla="*/ 80010 w 905827"/>
                <a:gd name="connsiteY4" fmla="*/ 905828 h 905827"/>
                <a:gd name="connsiteX5" fmla="*/ 825818 w 905827"/>
                <a:gd name="connsiteY5" fmla="*/ 905828 h 905827"/>
                <a:gd name="connsiteX6" fmla="*/ 905828 w 905827"/>
                <a:gd name="connsiteY6" fmla="*/ 825818 h 905827"/>
                <a:gd name="connsiteX7" fmla="*/ 905828 w 905827"/>
                <a:gd name="connsiteY7" fmla="*/ 80010 h 905827"/>
                <a:gd name="connsiteX8" fmla="*/ 824865 w 905827"/>
                <a:gd name="connsiteY8" fmla="*/ 0 h 905827"/>
                <a:gd name="connsiteX9" fmla="*/ 692468 w 905827"/>
                <a:gd name="connsiteY9" fmla="*/ 463868 h 905827"/>
                <a:gd name="connsiteX10" fmla="*/ 511493 w 905827"/>
                <a:gd name="connsiteY10" fmla="*/ 644843 h 905827"/>
                <a:gd name="connsiteX11" fmla="*/ 488633 w 905827"/>
                <a:gd name="connsiteY11" fmla="*/ 644843 h 905827"/>
                <a:gd name="connsiteX12" fmla="*/ 454343 w 905827"/>
                <a:gd name="connsiteY12" fmla="*/ 610553 h 905827"/>
                <a:gd name="connsiteX13" fmla="*/ 454343 w 905827"/>
                <a:gd name="connsiteY13" fmla="*/ 587693 h 905827"/>
                <a:gd name="connsiteX14" fmla="*/ 549593 w 905827"/>
                <a:gd name="connsiteY14" fmla="*/ 492443 h 905827"/>
                <a:gd name="connsiteX15" fmla="*/ 216218 w 905827"/>
                <a:gd name="connsiteY15" fmla="*/ 492443 h 905827"/>
                <a:gd name="connsiteX16" fmla="*/ 200025 w 905827"/>
                <a:gd name="connsiteY16" fmla="*/ 476250 h 905827"/>
                <a:gd name="connsiteX17" fmla="*/ 200025 w 905827"/>
                <a:gd name="connsiteY17" fmla="*/ 428625 h 905827"/>
                <a:gd name="connsiteX18" fmla="*/ 216218 w 905827"/>
                <a:gd name="connsiteY18" fmla="*/ 412433 h 905827"/>
                <a:gd name="connsiteX19" fmla="*/ 549593 w 905827"/>
                <a:gd name="connsiteY19" fmla="*/ 412433 h 905827"/>
                <a:gd name="connsiteX20" fmla="*/ 454343 w 905827"/>
                <a:gd name="connsiteY20" fmla="*/ 317183 h 905827"/>
                <a:gd name="connsiteX21" fmla="*/ 454343 w 905827"/>
                <a:gd name="connsiteY21" fmla="*/ 294323 h 905827"/>
                <a:gd name="connsiteX22" fmla="*/ 488633 w 905827"/>
                <a:gd name="connsiteY22" fmla="*/ 260033 h 905827"/>
                <a:gd name="connsiteX23" fmla="*/ 511493 w 905827"/>
                <a:gd name="connsiteY23" fmla="*/ 260033 h 905827"/>
                <a:gd name="connsiteX24" fmla="*/ 692468 w 905827"/>
                <a:gd name="connsiteY24" fmla="*/ 441008 h 905827"/>
                <a:gd name="connsiteX25" fmla="*/ 692468 w 905827"/>
                <a:gd name="connsiteY25" fmla="*/ 463868 h 90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05827" h="905827">
                  <a:moveTo>
                    <a:pt x="824865" y="0"/>
                  </a:moveTo>
                  <a:lnTo>
                    <a:pt x="80010" y="0"/>
                  </a:lnTo>
                  <a:cubicBezTo>
                    <a:pt x="36195" y="0"/>
                    <a:pt x="0" y="35243"/>
                    <a:pt x="0" y="80010"/>
                  </a:cubicBezTo>
                  <a:lnTo>
                    <a:pt x="0" y="825818"/>
                  </a:lnTo>
                  <a:cubicBezTo>
                    <a:pt x="0" y="869633"/>
                    <a:pt x="35243" y="905828"/>
                    <a:pt x="80010" y="905828"/>
                  </a:cubicBezTo>
                  <a:lnTo>
                    <a:pt x="825818" y="905828"/>
                  </a:lnTo>
                  <a:cubicBezTo>
                    <a:pt x="869633" y="905828"/>
                    <a:pt x="905828" y="870585"/>
                    <a:pt x="905828" y="825818"/>
                  </a:cubicBezTo>
                  <a:lnTo>
                    <a:pt x="905828" y="80010"/>
                  </a:lnTo>
                  <a:cubicBezTo>
                    <a:pt x="904875" y="35243"/>
                    <a:pt x="869633" y="0"/>
                    <a:pt x="824865" y="0"/>
                  </a:cubicBezTo>
                  <a:close/>
                  <a:moveTo>
                    <a:pt x="692468" y="463868"/>
                  </a:moveTo>
                  <a:lnTo>
                    <a:pt x="511493" y="644843"/>
                  </a:lnTo>
                  <a:cubicBezTo>
                    <a:pt x="504825" y="651510"/>
                    <a:pt x="495300" y="651510"/>
                    <a:pt x="488633" y="644843"/>
                  </a:cubicBezTo>
                  <a:lnTo>
                    <a:pt x="454343" y="610553"/>
                  </a:lnTo>
                  <a:cubicBezTo>
                    <a:pt x="447675" y="603885"/>
                    <a:pt x="447675" y="594360"/>
                    <a:pt x="454343" y="587693"/>
                  </a:cubicBezTo>
                  <a:lnTo>
                    <a:pt x="549593" y="492443"/>
                  </a:lnTo>
                  <a:lnTo>
                    <a:pt x="216218" y="492443"/>
                  </a:lnTo>
                  <a:cubicBezTo>
                    <a:pt x="207645" y="492443"/>
                    <a:pt x="200025" y="485775"/>
                    <a:pt x="200025" y="476250"/>
                  </a:cubicBezTo>
                  <a:lnTo>
                    <a:pt x="200025" y="428625"/>
                  </a:lnTo>
                  <a:cubicBezTo>
                    <a:pt x="200025" y="420053"/>
                    <a:pt x="206693" y="412433"/>
                    <a:pt x="216218" y="412433"/>
                  </a:cubicBezTo>
                  <a:lnTo>
                    <a:pt x="549593" y="412433"/>
                  </a:lnTo>
                  <a:lnTo>
                    <a:pt x="454343" y="317183"/>
                  </a:lnTo>
                  <a:cubicBezTo>
                    <a:pt x="447675" y="310515"/>
                    <a:pt x="447675" y="300990"/>
                    <a:pt x="454343" y="294323"/>
                  </a:cubicBezTo>
                  <a:lnTo>
                    <a:pt x="488633" y="260033"/>
                  </a:lnTo>
                  <a:cubicBezTo>
                    <a:pt x="495300" y="253365"/>
                    <a:pt x="504825" y="253365"/>
                    <a:pt x="511493" y="260033"/>
                  </a:cubicBezTo>
                  <a:lnTo>
                    <a:pt x="692468" y="441008"/>
                  </a:lnTo>
                  <a:cubicBezTo>
                    <a:pt x="698183" y="447675"/>
                    <a:pt x="698183" y="457200"/>
                    <a:pt x="692468" y="46386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45" name="Text Placeholder 3">
              <a:extLst>
                <a:ext uri="{FF2B5EF4-FFF2-40B4-BE49-F238E27FC236}">
                  <a16:creationId xmlns:a16="http://schemas.microsoft.com/office/drawing/2014/main" id="{B7892536-8969-66CA-2AA4-DBCAD7EF34C6}"/>
                </a:ext>
              </a:extLst>
            </p:cNvPr>
            <p:cNvSpPr txBox="1">
              <a:spLocks/>
            </p:cNvSpPr>
            <p:nvPr/>
          </p:nvSpPr>
          <p:spPr>
            <a:xfrm>
              <a:off x="1066800" y="1929933"/>
              <a:ext cx="9684000" cy="450617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>
              <a:lvl1pPr marL="0" indent="0" algn="l" defTabSz="548640" rtl="0" eaLnBrk="1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600"/>
                </a:spcAft>
                <a:buClr>
                  <a:srgbClr val="00ADCA"/>
                </a:buClr>
                <a:buFont typeface="Arial"/>
                <a:buNone/>
                <a:defRPr lang="en-US" sz="3200" b="1" kern="1200" cap="none" baseline="0" dirty="0" smtClean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352425" indent="-323850" algn="l" defTabSz="54864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600"/>
                </a:spcAft>
                <a:buClr>
                  <a:schemeClr val="accent1"/>
                </a:buClr>
                <a:buSzPct val="100000"/>
                <a:buFont typeface="Arial" charset="0"/>
                <a:buChar char="•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973138" indent="-309563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Wingdings" charset="2"/>
                <a:buChar char="§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547813" indent="-382588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/>
                <a:buChar char="–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290763" indent="-371475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.AppleSystemUIFont" charset="-120"/>
                <a:buChar char="-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301752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1167"/>
                </a:spcBef>
                <a:spcAft>
                  <a:spcPts val="0"/>
                </a:spcAft>
                <a:buClr>
                  <a:srgbClr val="00B050"/>
                </a:buClr>
              </a:pPr>
              <a:r>
                <a:rPr lang="en-US" sz="1600" b="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</p:grp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023B1088-188F-037E-B286-AEAFCC3BAD60}"/>
              </a:ext>
            </a:extLst>
          </p:cNvPr>
          <p:cNvCxnSpPr>
            <a:cxnSpLocks/>
          </p:cNvCxnSpPr>
          <p:nvPr/>
        </p:nvCxnSpPr>
        <p:spPr>
          <a:xfrm>
            <a:off x="550862" y="2484349"/>
            <a:ext cx="110556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C9E91AA-97A3-2A64-E3B0-A7874E938E83}"/>
              </a:ext>
            </a:extLst>
          </p:cNvPr>
          <p:cNvGrpSpPr/>
          <p:nvPr/>
        </p:nvGrpSpPr>
        <p:grpSpPr>
          <a:xfrm>
            <a:off x="550862" y="2626103"/>
            <a:ext cx="10199938" cy="450617"/>
            <a:chOff x="550862" y="1929933"/>
            <a:chExt cx="10199938" cy="450617"/>
          </a:xfrm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E3D2CC4B-3955-4563-C3D4-2FFD2CE579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0862" y="1950146"/>
              <a:ext cx="410191" cy="410191"/>
            </a:xfrm>
            <a:custGeom>
              <a:avLst/>
              <a:gdLst>
                <a:gd name="connsiteX0" fmla="*/ 824865 w 905827"/>
                <a:gd name="connsiteY0" fmla="*/ 0 h 905827"/>
                <a:gd name="connsiteX1" fmla="*/ 80010 w 905827"/>
                <a:gd name="connsiteY1" fmla="*/ 0 h 905827"/>
                <a:gd name="connsiteX2" fmla="*/ 0 w 905827"/>
                <a:gd name="connsiteY2" fmla="*/ 80010 h 905827"/>
                <a:gd name="connsiteX3" fmla="*/ 0 w 905827"/>
                <a:gd name="connsiteY3" fmla="*/ 825818 h 905827"/>
                <a:gd name="connsiteX4" fmla="*/ 80010 w 905827"/>
                <a:gd name="connsiteY4" fmla="*/ 905828 h 905827"/>
                <a:gd name="connsiteX5" fmla="*/ 825818 w 905827"/>
                <a:gd name="connsiteY5" fmla="*/ 905828 h 905827"/>
                <a:gd name="connsiteX6" fmla="*/ 905828 w 905827"/>
                <a:gd name="connsiteY6" fmla="*/ 825818 h 905827"/>
                <a:gd name="connsiteX7" fmla="*/ 905828 w 905827"/>
                <a:gd name="connsiteY7" fmla="*/ 80010 h 905827"/>
                <a:gd name="connsiteX8" fmla="*/ 824865 w 905827"/>
                <a:gd name="connsiteY8" fmla="*/ 0 h 905827"/>
                <a:gd name="connsiteX9" fmla="*/ 692468 w 905827"/>
                <a:gd name="connsiteY9" fmla="*/ 463868 h 905827"/>
                <a:gd name="connsiteX10" fmla="*/ 511493 w 905827"/>
                <a:gd name="connsiteY10" fmla="*/ 644843 h 905827"/>
                <a:gd name="connsiteX11" fmla="*/ 488633 w 905827"/>
                <a:gd name="connsiteY11" fmla="*/ 644843 h 905827"/>
                <a:gd name="connsiteX12" fmla="*/ 454343 w 905827"/>
                <a:gd name="connsiteY12" fmla="*/ 610553 h 905827"/>
                <a:gd name="connsiteX13" fmla="*/ 454343 w 905827"/>
                <a:gd name="connsiteY13" fmla="*/ 587693 h 905827"/>
                <a:gd name="connsiteX14" fmla="*/ 549593 w 905827"/>
                <a:gd name="connsiteY14" fmla="*/ 492443 h 905827"/>
                <a:gd name="connsiteX15" fmla="*/ 216218 w 905827"/>
                <a:gd name="connsiteY15" fmla="*/ 492443 h 905827"/>
                <a:gd name="connsiteX16" fmla="*/ 200025 w 905827"/>
                <a:gd name="connsiteY16" fmla="*/ 476250 h 905827"/>
                <a:gd name="connsiteX17" fmla="*/ 200025 w 905827"/>
                <a:gd name="connsiteY17" fmla="*/ 428625 h 905827"/>
                <a:gd name="connsiteX18" fmla="*/ 216218 w 905827"/>
                <a:gd name="connsiteY18" fmla="*/ 412433 h 905827"/>
                <a:gd name="connsiteX19" fmla="*/ 549593 w 905827"/>
                <a:gd name="connsiteY19" fmla="*/ 412433 h 905827"/>
                <a:gd name="connsiteX20" fmla="*/ 454343 w 905827"/>
                <a:gd name="connsiteY20" fmla="*/ 317183 h 905827"/>
                <a:gd name="connsiteX21" fmla="*/ 454343 w 905827"/>
                <a:gd name="connsiteY21" fmla="*/ 294323 h 905827"/>
                <a:gd name="connsiteX22" fmla="*/ 488633 w 905827"/>
                <a:gd name="connsiteY22" fmla="*/ 260033 h 905827"/>
                <a:gd name="connsiteX23" fmla="*/ 511493 w 905827"/>
                <a:gd name="connsiteY23" fmla="*/ 260033 h 905827"/>
                <a:gd name="connsiteX24" fmla="*/ 692468 w 905827"/>
                <a:gd name="connsiteY24" fmla="*/ 441008 h 905827"/>
                <a:gd name="connsiteX25" fmla="*/ 692468 w 905827"/>
                <a:gd name="connsiteY25" fmla="*/ 463868 h 90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05827" h="905827">
                  <a:moveTo>
                    <a:pt x="824865" y="0"/>
                  </a:moveTo>
                  <a:lnTo>
                    <a:pt x="80010" y="0"/>
                  </a:lnTo>
                  <a:cubicBezTo>
                    <a:pt x="36195" y="0"/>
                    <a:pt x="0" y="35243"/>
                    <a:pt x="0" y="80010"/>
                  </a:cubicBezTo>
                  <a:lnTo>
                    <a:pt x="0" y="825818"/>
                  </a:lnTo>
                  <a:cubicBezTo>
                    <a:pt x="0" y="869633"/>
                    <a:pt x="35243" y="905828"/>
                    <a:pt x="80010" y="905828"/>
                  </a:cubicBezTo>
                  <a:lnTo>
                    <a:pt x="825818" y="905828"/>
                  </a:lnTo>
                  <a:cubicBezTo>
                    <a:pt x="869633" y="905828"/>
                    <a:pt x="905828" y="870585"/>
                    <a:pt x="905828" y="825818"/>
                  </a:cubicBezTo>
                  <a:lnTo>
                    <a:pt x="905828" y="80010"/>
                  </a:lnTo>
                  <a:cubicBezTo>
                    <a:pt x="904875" y="35243"/>
                    <a:pt x="869633" y="0"/>
                    <a:pt x="824865" y="0"/>
                  </a:cubicBezTo>
                  <a:close/>
                  <a:moveTo>
                    <a:pt x="692468" y="463868"/>
                  </a:moveTo>
                  <a:lnTo>
                    <a:pt x="511493" y="644843"/>
                  </a:lnTo>
                  <a:cubicBezTo>
                    <a:pt x="504825" y="651510"/>
                    <a:pt x="495300" y="651510"/>
                    <a:pt x="488633" y="644843"/>
                  </a:cubicBezTo>
                  <a:lnTo>
                    <a:pt x="454343" y="610553"/>
                  </a:lnTo>
                  <a:cubicBezTo>
                    <a:pt x="447675" y="603885"/>
                    <a:pt x="447675" y="594360"/>
                    <a:pt x="454343" y="587693"/>
                  </a:cubicBezTo>
                  <a:lnTo>
                    <a:pt x="549593" y="492443"/>
                  </a:lnTo>
                  <a:lnTo>
                    <a:pt x="216218" y="492443"/>
                  </a:lnTo>
                  <a:cubicBezTo>
                    <a:pt x="207645" y="492443"/>
                    <a:pt x="200025" y="485775"/>
                    <a:pt x="200025" y="476250"/>
                  </a:cubicBezTo>
                  <a:lnTo>
                    <a:pt x="200025" y="428625"/>
                  </a:lnTo>
                  <a:cubicBezTo>
                    <a:pt x="200025" y="420053"/>
                    <a:pt x="206693" y="412433"/>
                    <a:pt x="216218" y="412433"/>
                  </a:cubicBezTo>
                  <a:lnTo>
                    <a:pt x="549593" y="412433"/>
                  </a:lnTo>
                  <a:lnTo>
                    <a:pt x="454343" y="317183"/>
                  </a:lnTo>
                  <a:cubicBezTo>
                    <a:pt x="447675" y="310515"/>
                    <a:pt x="447675" y="300990"/>
                    <a:pt x="454343" y="294323"/>
                  </a:cubicBezTo>
                  <a:lnTo>
                    <a:pt x="488633" y="260033"/>
                  </a:lnTo>
                  <a:cubicBezTo>
                    <a:pt x="495300" y="253365"/>
                    <a:pt x="504825" y="253365"/>
                    <a:pt x="511493" y="260033"/>
                  </a:cubicBezTo>
                  <a:lnTo>
                    <a:pt x="692468" y="441008"/>
                  </a:lnTo>
                  <a:cubicBezTo>
                    <a:pt x="698183" y="447675"/>
                    <a:pt x="698183" y="457200"/>
                    <a:pt x="692468" y="46386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49" name="Text Placeholder 3">
              <a:extLst>
                <a:ext uri="{FF2B5EF4-FFF2-40B4-BE49-F238E27FC236}">
                  <a16:creationId xmlns:a16="http://schemas.microsoft.com/office/drawing/2014/main" id="{1369E216-2167-C277-2AFD-5D9DD600C171}"/>
                </a:ext>
              </a:extLst>
            </p:cNvPr>
            <p:cNvSpPr txBox="1">
              <a:spLocks/>
            </p:cNvSpPr>
            <p:nvPr/>
          </p:nvSpPr>
          <p:spPr>
            <a:xfrm>
              <a:off x="1066800" y="1929933"/>
              <a:ext cx="9684000" cy="450617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>
              <a:lvl1pPr marL="0" indent="0" algn="l" defTabSz="548640" rtl="0" eaLnBrk="1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600"/>
                </a:spcAft>
                <a:buClr>
                  <a:srgbClr val="00ADCA"/>
                </a:buClr>
                <a:buFont typeface="Arial"/>
                <a:buNone/>
                <a:defRPr lang="en-US" sz="3200" b="1" kern="1200" cap="none" baseline="0" dirty="0" smtClean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352425" indent="-323850" algn="l" defTabSz="54864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600"/>
                </a:spcAft>
                <a:buClr>
                  <a:schemeClr val="accent1"/>
                </a:buClr>
                <a:buSzPct val="100000"/>
                <a:buFont typeface="Arial" charset="0"/>
                <a:buChar char="•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973138" indent="-309563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Wingdings" charset="2"/>
                <a:buChar char="§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547813" indent="-382588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/>
                <a:buChar char="–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290763" indent="-371475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.AppleSystemUIFont" charset="-120"/>
                <a:buChar char="-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301752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1167"/>
                </a:spcBef>
                <a:spcAft>
                  <a:spcPts val="0"/>
                </a:spcAft>
                <a:buClr>
                  <a:srgbClr val="00B050"/>
                </a:buClr>
              </a:pPr>
              <a:r>
                <a:rPr lang="en-US" sz="1600" b="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</p:grp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53333A1A-1201-D4E0-F8E5-CF02CADD748E}"/>
              </a:ext>
            </a:extLst>
          </p:cNvPr>
          <p:cNvCxnSpPr>
            <a:cxnSpLocks/>
          </p:cNvCxnSpPr>
          <p:nvPr/>
        </p:nvCxnSpPr>
        <p:spPr>
          <a:xfrm>
            <a:off x="550862" y="3218474"/>
            <a:ext cx="110556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>
            <a:extLst>
              <a:ext uri="{FF2B5EF4-FFF2-40B4-BE49-F238E27FC236}">
                <a16:creationId xmlns:a16="http://schemas.microsoft.com/office/drawing/2014/main" id="{882A3B55-690D-105E-366A-501044AD1320}"/>
              </a:ext>
            </a:extLst>
          </p:cNvPr>
          <p:cNvGrpSpPr/>
          <p:nvPr/>
        </p:nvGrpSpPr>
        <p:grpSpPr>
          <a:xfrm>
            <a:off x="550862" y="3360228"/>
            <a:ext cx="10199938" cy="450617"/>
            <a:chOff x="550862" y="1929933"/>
            <a:chExt cx="10199938" cy="450617"/>
          </a:xfrm>
        </p:grpSpPr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32BC9E2-F38F-3D1B-D592-33B8C21499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0862" y="1950146"/>
              <a:ext cx="410191" cy="410191"/>
            </a:xfrm>
            <a:custGeom>
              <a:avLst/>
              <a:gdLst>
                <a:gd name="connsiteX0" fmla="*/ 824865 w 905827"/>
                <a:gd name="connsiteY0" fmla="*/ 0 h 905827"/>
                <a:gd name="connsiteX1" fmla="*/ 80010 w 905827"/>
                <a:gd name="connsiteY1" fmla="*/ 0 h 905827"/>
                <a:gd name="connsiteX2" fmla="*/ 0 w 905827"/>
                <a:gd name="connsiteY2" fmla="*/ 80010 h 905827"/>
                <a:gd name="connsiteX3" fmla="*/ 0 w 905827"/>
                <a:gd name="connsiteY3" fmla="*/ 825818 h 905827"/>
                <a:gd name="connsiteX4" fmla="*/ 80010 w 905827"/>
                <a:gd name="connsiteY4" fmla="*/ 905828 h 905827"/>
                <a:gd name="connsiteX5" fmla="*/ 825818 w 905827"/>
                <a:gd name="connsiteY5" fmla="*/ 905828 h 905827"/>
                <a:gd name="connsiteX6" fmla="*/ 905828 w 905827"/>
                <a:gd name="connsiteY6" fmla="*/ 825818 h 905827"/>
                <a:gd name="connsiteX7" fmla="*/ 905828 w 905827"/>
                <a:gd name="connsiteY7" fmla="*/ 80010 h 905827"/>
                <a:gd name="connsiteX8" fmla="*/ 824865 w 905827"/>
                <a:gd name="connsiteY8" fmla="*/ 0 h 905827"/>
                <a:gd name="connsiteX9" fmla="*/ 692468 w 905827"/>
                <a:gd name="connsiteY9" fmla="*/ 463868 h 905827"/>
                <a:gd name="connsiteX10" fmla="*/ 511493 w 905827"/>
                <a:gd name="connsiteY10" fmla="*/ 644843 h 905827"/>
                <a:gd name="connsiteX11" fmla="*/ 488633 w 905827"/>
                <a:gd name="connsiteY11" fmla="*/ 644843 h 905827"/>
                <a:gd name="connsiteX12" fmla="*/ 454343 w 905827"/>
                <a:gd name="connsiteY12" fmla="*/ 610553 h 905827"/>
                <a:gd name="connsiteX13" fmla="*/ 454343 w 905827"/>
                <a:gd name="connsiteY13" fmla="*/ 587693 h 905827"/>
                <a:gd name="connsiteX14" fmla="*/ 549593 w 905827"/>
                <a:gd name="connsiteY14" fmla="*/ 492443 h 905827"/>
                <a:gd name="connsiteX15" fmla="*/ 216218 w 905827"/>
                <a:gd name="connsiteY15" fmla="*/ 492443 h 905827"/>
                <a:gd name="connsiteX16" fmla="*/ 200025 w 905827"/>
                <a:gd name="connsiteY16" fmla="*/ 476250 h 905827"/>
                <a:gd name="connsiteX17" fmla="*/ 200025 w 905827"/>
                <a:gd name="connsiteY17" fmla="*/ 428625 h 905827"/>
                <a:gd name="connsiteX18" fmla="*/ 216218 w 905827"/>
                <a:gd name="connsiteY18" fmla="*/ 412433 h 905827"/>
                <a:gd name="connsiteX19" fmla="*/ 549593 w 905827"/>
                <a:gd name="connsiteY19" fmla="*/ 412433 h 905827"/>
                <a:gd name="connsiteX20" fmla="*/ 454343 w 905827"/>
                <a:gd name="connsiteY20" fmla="*/ 317183 h 905827"/>
                <a:gd name="connsiteX21" fmla="*/ 454343 w 905827"/>
                <a:gd name="connsiteY21" fmla="*/ 294323 h 905827"/>
                <a:gd name="connsiteX22" fmla="*/ 488633 w 905827"/>
                <a:gd name="connsiteY22" fmla="*/ 260033 h 905827"/>
                <a:gd name="connsiteX23" fmla="*/ 511493 w 905827"/>
                <a:gd name="connsiteY23" fmla="*/ 260033 h 905827"/>
                <a:gd name="connsiteX24" fmla="*/ 692468 w 905827"/>
                <a:gd name="connsiteY24" fmla="*/ 441008 h 905827"/>
                <a:gd name="connsiteX25" fmla="*/ 692468 w 905827"/>
                <a:gd name="connsiteY25" fmla="*/ 463868 h 90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05827" h="905827">
                  <a:moveTo>
                    <a:pt x="824865" y="0"/>
                  </a:moveTo>
                  <a:lnTo>
                    <a:pt x="80010" y="0"/>
                  </a:lnTo>
                  <a:cubicBezTo>
                    <a:pt x="36195" y="0"/>
                    <a:pt x="0" y="35243"/>
                    <a:pt x="0" y="80010"/>
                  </a:cubicBezTo>
                  <a:lnTo>
                    <a:pt x="0" y="825818"/>
                  </a:lnTo>
                  <a:cubicBezTo>
                    <a:pt x="0" y="869633"/>
                    <a:pt x="35243" y="905828"/>
                    <a:pt x="80010" y="905828"/>
                  </a:cubicBezTo>
                  <a:lnTo>
                    <a:pt x="825818" y="905828"/>
                  </a:lnTo>
                  <a:cubicBezTo>
                    <a:pt x="869633" y="905828"/>
                    <a:pt x="905828" y="870585"/>
                    <a:pt x="905828" y="825818"/>
                  </a:cubicBezTo>
                  <a:lnTo>
                    <a:pt x="905828" y="80010"/>
                  </a:lnTo>
                  <a:cubicBezTo>
                    <a:pt x="904875" y="35243"/>
                    <a:pt x="869633" y="0"/>
                    <a:pt x="824865" y="0"/>
                  </a:cubicBezTo>
                  <a:close/>
                  <a:moveTo>
                    <a:pt x="692468" y="463868"/>
                  </a:moveTo>
                  <a:lnTo>
                    <a:pt x="511493" y="644843"/>
                  </a:lnTo>
                  <a:cubicBezTo>
                    <a:pt x="504825" y="651510"/>
                    <a:pt x="495300" y="651510"/>
                    <a:pt x="488633" y="644843"/>
                  </a:cubicBezTo>
                  <a:lnTo>
                    <a:pt x="454343" y="610553"/>
                  </a:lnTo>
                  <a:cubicBezTo>
                    <a:pt x="447675" y="603885"/>
                    <a:pt x="447675" y="594360"/>
                    <a:pt x="454343" y="587693"/>
                  </a:cubicBezTo>
                  <a:lnTo>
                    <a:pt x="549593" y="492443"/>
                  </a:lnTo>
                  <a:lnTo>
                    <a:pt x="216218" y="492443"/>
                  </a:lnTo>
                  <a:cubicBezTo>
                    <a:pt x="207645" y="492443"/>
                    <a:pt x="200025" y="485775"/>
                    <a:pt x="200025" y="476250"/>
                  </a:cubicBezTo>
                  <a:lnTo>
                    <a:pt x="200025" y="428625"/>
                  </a:lnTo>
                  <a:cubicBezTo>
                    <a:pt x="200025" y="420053"/>
                    <a:pt x="206693" y="412433"/>
                    <a:pt x="216218" y="412433"/>
                  </a:cubicBezTo>
                  <a:lnTo>
                    <a:pt x="549593" y="412433"/>
                  </a:lnTo>
                  <a:lnTo>
                    <a:pt x="454343" y="317183"/>
                  </a:lnTo>
                  <a:cubicBezTo>
                    <a:pt x="447675" y="310515"/>
                    <a:pt x="447675" y="300990"/>
                    <a:pt x="454343" y="294323"/>
                  </a:cubicBezTo>
                  <a:lnTo>
                    <a:pt x="488633" y="260033"/>
                  </a:lnTo>
                  <a:cubicBezTo>
                    <a:pt x="495300" y="253365"/>
                    <a:pt x="504825" y="253365"/>
                    <a:pt x="511493" y="260033"/>
                  </a:cubicBezTo>
                  <a:lnTo>
                    <a:pt x="692468" y="441008"/>
                  </a:lnTo>
                  <a:cubicBezTo>
                    <a:pt x="698183" y="447675"/>
                    <a:pt x="698183" y="457200"/>
                    <a:pt x="692468" y="46386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53" name="Text Placeholder 3">
              <a:extLst>
                <a:ext uri="{FF2B5EF4-FFF2-40B4-BE49-F238E27FC236}">
                  <a16:creationId xmlns:a16="http://schemas.microsoft.com/office/drawing/2014/main" id="{913F45A0-1BA2-4BA6-29B9-A1C8CD96533C}"/>
                </a:ext>
              </a:extLst>
            </p:cNvPr>
            <p:cNvSpPr txBox="1">
              <a:spLocks/>
            </p:cNvSpPr>
            <p:nvPr/>
          </p:nvSpPr>
          <p:spPr>
            <a:xfrm>
              <a:off x="1066800" y="1929933"/>
              <a:ext cx="9684000" cy="450617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>
              <a:lvl1pPr marL="0" indent="0" algn="l" defTabSz="548640" rtl="0" eaLnBrk="1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600"/>
                </a:spcAft>
                <a:buClr>
                  <a:srgbClr val="00ADCA"/>
                </a:buClr>
                <a:buFont typeface="Arial"/>
                <a:buNone/>
                <a:defRPr lang="en-US" sz="3200" b="1" kern="1200" cap="none" baseline="0" dirty="0" smtClean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352425" indent="-323850" algn="l" defTabSz="54864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600"/>
                </a:spcAft>
                <a:buClr>
                  <a:schemeClr val="accent1"/>
                </a:buClr>
                <a:buSzPct val="100000"/>
                <a:buFont typeface="Arial" charset="0"/>
                <a:buChar char="•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973138" indent="-309563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Wingdings" charset="2"/>
                <a:buChar char="§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547813" indent="-382588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/>
                <a:buChar char="–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290763" indent="-371475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.AppleSystemUIFont" charset="-120"/>
                <a:buChar char="-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301752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1167"/>
                </a:spcBef>
                <a:spcAft>
                  <a:spcPts val="0"/>
                </a:spcAft>
                <a:buClr>
                  <a:srgbClr val="00B050"/>
                </a:buClr>
              </a:pPr>
              <a:r>
                <a:rPr lang="en-US" sz="1600" b="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</p:grp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1A2E06B-31D0-E986-7680-65E52E36E161}"/>
              </a:ext>
            </a:extLst>
          </p:cNvPr>
          <p:cNvCxnSpPr>
            <a:cxnSpLocks/>
          </p:cNvCxnSpPr>
          <p:nvPr/>
        </p:nvCxnSpPr>
        <p:spPr>
          <a:xfrm>
            <a:off x="550862" y="3952599"/>
            <a:ext cx="110556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oup 54">
            <a:extLst>
              <a:ext uri="{FF2B5EF4-FFF2-40B4-BE49-F238E27FC236}">
                <a16:creationId xmlns:a16="http://schemas.microsoft.com/office/drawing/2014/main" id="{8995EB30-DCE1-9E34-FB4E-67438FF8810F}"/>
              </a:ext>
            </a:extLst>
          </p:cNvPr>
          <p:cNvGrpSpPr/>
          <p:nvPr/>
        </p:nvGrpSpPr>
        <p:grpSpPr>
          <a:xfrm>
            <a:off x="550862" y="4094353"/>
            <a:ext cx="10199938" cy="450617"/>
            <a:chOff x="550862" y="1929933"/>
            <a:chExt cx="10199938" cy="450617"/>
          </a:xfrm>
        </p:grpSpPr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F8ED366-52B8-442F-0216-53B2E097917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0862" y="1950146"/>
              <a:ext cx="410191" cy="410191"/>
            </a:xfrm>
            <a:custGeom>
              <a:avLst/>
              <a:gdLst>
                <a:gd name="connsiteX0" fmla="*/ 824865 w 905827"/>
                <a:gd name="connsiteY0" fmla="*/ 0 h 905827"/>
                <a:gd name="connsiteX1" fmla="*/ 80010 w 905827"/>
                <a:gd name="connsiteY1" fmla="*/ 0 h 905827"/>
                <a:gd name="connsiteX2" fmla="*/ 0 w 905827"/>
                <a:gd name="connsiteY2" fmla="*/ 80010 h 905827"/>
                <a:gd name="connsiteX3" fmla="*/ 0 w 905827"/>
                <a:gd name="connsiteY3" fmla="*/ 825818 h 905827"/>
                <a:gd name="connsiteX4" fmla="*/ 80010 w 905827"/>
                <a:gd name="connsiteY4" fmla="*/ 905828 h 905827"/>
                <a:gd name="connsiteX5" fmla="*/ 825818 w 905827"/>
                <a:gd name="connsiteY5" fmla="*/ 905828 h 905827"/>
                <a:gd name="connsiteX6" fmla="*/ 905828 w 905827"/>
                <a:gd name="connsiteY6" fmla="*/ 825818 h 905827"/>
                <a:gd name="connsiteX7" fmla="*/ 905828 w 905827"/>
                <a:gd name="connsiteY7" fmla="*/ 80010 h 905827"/>
                <a:gd name="connsiteX8" fmla="*/ 824865 w 905827"/>
                <a:gd name="connsiteY8" fmla="*/ 0 h 905827"/>
                <a:gd name="connsiteX9" fmla="*/ 692468 w 905827"/>
                <a:gd name="connsiteY9" fmla="*/ 463868 h 905827"/>
                <a:gd name="connsiteX10" fmla="*/ 511493 w 905827"/>
                <a:gd name="connsiteY10" fmla="*/ 644843 h 905827"/>
                <a:gd name="connsiteX11" fmla="*/ 488633 w 905827"/>
                <a:gd name="connsiteY11" fmla="*/ 644843 h 905827"/>
                <a:gd name="connsiteX12" fmla="*/ 454343 w 905827"/>
                <a:gd name="connsiteY12" fmla="*/ 610553 h 905827"/>
                <a:gd name="connsiteX13" fmla="*/ 454343 w 905827"/>
                <a:gd name="connsiteY13" fmla="*/ 587693 h 905827"/>
                <a:gd name="connsiteX14" fmla="*/ 549593 w 905827"/>
                <a:gd name="connsiteY14" fmla="*/ 492443 h 905827"/>
                <a:gd name="connsiteX15" fmla="*/ 216218 w 905827"/>
                <a:gd name="connsiteY15" fmla="*/ 492443 h 905827"/>
                <a:gd name="connsiteX16" fmla="*/ 200025 w 905827"/>
                <a:gd name="connsiteY16" fmla="*/ 476250 h 905827"/>
                <a:gd name="connsiteX17" fmla="*/ 200025 w 905827"/>
                <a:gd name="connsiteY17" fmla="*/ 428625 h 905827"/>
                <a:gd name="connsiteX18" fmla="*/ 216218 w 905827"/>
                <a:gd name="connsiteY18" fmla="*/ 412433 h 905827"/>
                <a:gd name="connsiteX19" fmla="*/ 549593 w 905827"/>
                <a:gd name="connsiteY19" fmla="*/ 412433 h 905827"/>
                <a:gd name="connsiteX20" fmla="*/ 454343 w 905827"/>
                <a:gd name="connsiteY20" fmla="*/ 317183 h 905827"/>
                <a:gd name="connsiteX21" fmla="*/ 454343 w 905827"/>
                <a:gd name="connsiteY21" fmla="*/ 294323 h 905827"/>
                <a:gd name="connsiteX22" fmla="*/ 488633 w 905827"/>
                <a:gd name="connsiteY22" fmla="*/ 260033 h 905827"/>
                <a:gd name="connsiteX23" fmla="*/ 511493 w 905827"/>
                <a:gd name="connsiteY23" fmla="*/ 260033 h 905827"/>
                <a:gd name="connsiteX24" fmla="*/ 692468 w 905827"/>
                <a:gd name="connsiteY24" fmla="*/ 441008 h 905827"/>
                <a:gd name="connsiteX25" fmla="*/ 692468 w 905827"/>
                <a:gd name="connsiteY25" fmla="*/ 463868 h 90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05827" h="905827">
                  <a:moveTo>
                    <a:pt x="824865" y="0"/>
                  </a:moveTo>
                  <a:lnTo>
                    <a:pt x="80010" y="0"/>
                  </a:lnTo>
                  <a:cubicBezTo>
                    <a:pt x="36195" y="0"/>
                    <a:pt x="0" y="35243"/>
                    <a:pt x="0" y="80010"/>
                  </a:cubicBezTo>
                  <a:lnTo>
                    <a:pt x="0" y="825818"/>
                  </a:lnTo>
                  <a:cubicBezTo>
                    <a:pt x="0" y="869633"/>
                    <a:pt x="35243" y="905828"/>
                    <a:pt x="80010" y="905828"/>
                  </a:cubicBezTo>
                  <a:lnTo>
                    <a:pt x="825818" y="905828"/>
                  </a:lnTo>
                  <a:cubicBezTo>
                    <a:pt x="869633" y="905828"/>
                    <a:pt x="905828" y="870585"/>
                    <a:pt x="905828" y="825818"/>
                  </a:cubicBezTo>
                  <a:lnTo>
                    <a:pt x="905828" y="80010"/>
                  </a:lnTo>
                  <a:cubicBezTo>
                    <a:pt x="904875" y="35243"/>
                    <a:pt x="869633" y="0"/>
                    <a:pt x="824865" y="0"/>
                  </a:cubicBezTo>
                  <a:close/>
                  <a:moveTo>
                    <a:pt x="692468" y="463868"/>
                  </a:moveTo>
                  <a:lnTo>
                    <a:pt x="511493" y="644843"/>
                  </a:lnTo>
                  <a:cubicBezTo>
                    <a:pt x="504825" y="651510"/>
                    <a:pt x="495300" y="651510"/>
                    <a:pt x="488633" y="644843"/>
                  </a:cubicBezTo>
                  <a:lnTo>
                    <a:pt x="454343" y="610553"/>
                  </a:lnTo>
                  <a:cubicBezTo>
                    <a:pt x="447675" y="603885"/>
                    <a:pt x="447675" y="594360"/>
                    <a:pt x="454343" y="587693"/>
                  </a:cubicBezTo>
                  <a:lnTo>
                    <a:pt x="549593" y="492443"/>
                  </a:lnTo>
                  <a:lnTo>
                    <a:pt x="216218" y="492443"/>
                  </a:lnTo>
                  <a:cubicBezTo>
                    <a:pt x="207645" y="492443"/>
                    <a:pt x="200025" y="485775"/>
                    <a:pt x="200025" y="476250"/>
                  </a:cubicBezTo>
                  <a:lnTo>
                    <a:pt x="200025" y="428625"/>
                  </a:lnTo>
                  <a:cubicBezTo>
                    <a:pt x="200025" y="420053"/>
                    <a:pt x="206693" y="412433"/>
                    <a:pt x="216218" y="412433"/>
                  </a:cubicBezTo>
                  <a:lnTo>
                    <a:pt x="549593" y="412433"/>
                  </a:lnTo>
                  <a:lnTo>
                    <a:pt x="454343" y="317183"/>
                  </a:lnTo>
                  <a:cubicBezTo>
                    <a:pt x="447675" y="310515"/>
                    <a:pt x="447675" y="300990"/>
                    <a:pt x="454343" y="294323"/>
                  </a:cubicBezTo>
                  <a:lnTo>
                    <a:pt x="488633" y="260033"/>
                  </a:lnTo>
                  <a:cubicBezTo>
                    <a:pt x="495300" y="253365"/>
                    <a:pt x="504825" y="253365"/>
                    <a:pt x="511493" y="260033"/>
                  </a:cubicBezTo>
                  <a:lnTo>
                    <a:pt x="692468" y="441008"/>
                  </a:lnTo>
                  <a:cubicBezTo>
                    <a:pt x="698183" y="447675"/>
                    <a:pt x="698183" y="457200"/>
                    <a:pt x="692468" y="46386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57" name="Text Placeholder 3">
              <a:extLst>
                <a:ext uri="{FF2B5EF4-FFF2-40B4-BE49-F238E27FC236}">
                  <a16:creationId xmlns:a16="http://schemas.microsoft.com/office/drawing/2014/main" id="{468A2D02-5884-AE9C-2AF7-A86ADBBCBD0C}"/>
                </a:ext>
              </a:extLst>
            </p:cNvPr>
            <p:cNvSpPr txBox="1">
              <a:spLocks/>
            </p:cNvSpPr>
            <p:nvPr/>
          </p:nvSpPr>
          <p:spPr>
            <a:xfrm>
              <a:off x="1066800" y="1929933"/>
              <a:ext cx="9684000" cy="450617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>
              <a:lvl1pPr marL="0" indent="0" algn="l" defTabSz="548640" rtl="0" eaLnBrk="1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600"/>
                </a:spcAft>
                <a:buClr>
                  <a:srgbClr val="00ADCA"/>
                </a:buClr>
                <a:buFont typeface="Arial"/>
                <a:buNone/>
                <a:defRPr lang="en-US" sz="3200" b="1" kern="1200" cap="none" baseline="0" dirty="0" smtClean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352425" indent="-323850" algn="l" defTabSz="54864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600"/>
                </a:spcAft>
                <a:buClr>
                  <a:schemeClr val="accent1"/>
                </a:buClr>
                <a:buSzPct val="100000"/>
                <a:buFont typeface="Arial" charset="0"/>
                <a:buChar char="•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973138" indent="-309563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Wingdings" charset="2"/>
                <a:buChar char="§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547813" indent="-382588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/>
                <a:buChar char="–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290763" indent="-371475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.AppleSystemUIFont" charset="-120"/>
                <a:buChar char="-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301752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1167"/>
                </a:spcBef>
                <a:spcAft>
                  <a:spcPts val="0"/>
                </a:spcAft>
                <a:buClr>
                  <a:srgbClr val="00B050"/>
                </a:buClr>
              </a:pPr>
              <a:r>
                <a:rPr lang="en-US" sz="1600" b="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</p:grp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79C68364-D156-888D-8689-F7060EFBD1BD}"/>
              </a:ext>
            </a:extLst>
          </p:cNvPr>
          <p:cNvCxnSpPr>
            <a:cxnSpLocks/>
          </p:cNvCxnSpPr>
          <p:nvPr/>
        </p:nvCxnSpPr>
        <p:spPr>
          <a:xfrm>
            <a:off x="550862" y="4686724"/>
            <a:ext cx="110556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4DC8034-2682-44FA-954F-3D1038BB2C53}"/>
              </a:ext>
            </a:extLst>
          </p:cNvPr>
          <p:cNvGrpSpPr/>
          <p:nvPr/>
        </p:nvGrpSpPr>
        <p:grpSpPr>
          <a:xfrm>
            <a:off x="550862" y="4828478"/>
            <a:ext cx="10199938" cy="450617"/>
            <a:chOff x="550862" y="1929933"/>
            <a:chExt cx="10199938" cy="450617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8F9C6DE0-4C14-801B-F471-63B6079609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0862" y="1950146"/>
              <a:ext cx="410191" cy="410191"/>
            </a:xfrm>
            <a:custGeom>
              <a:avLst/>
              <a:gdLst>
                <a:gd name="connsiteX0" fmla="*/ 824865 w 905827"/>
                <a:gd name="connsiteY0" fmla="*/ 0 h 905827"/>
                <a:gd name="connsiteX1" fmla="*/ 80010 w 905827"/>
                <a:gd name="connsiteY1" fmla="*/ 0 h 905827"/>
                <a:gd name="connsiteX2" fmla="*/ 0 w 905827"/>
                <a:gd name="connsiteY2" fmla="*/ 80010 h 905827"/>
                <a:gd name="connsiteX3" fmla="*/ 0 w 905827"/>
                <a:gd name="connsiteY3" fmla="*/ 825818 h 905827"/>
                <a:gd name="connsiteX4" fmla="*/ 80010 w 905827"/>
                <a:gd name="connsiteY4" fmla="*/ 905828 h 905827"/>
                <a:gd name="connsiteX5" fmla="*/ 825818 w 905827"/>
                <a:gd name="connsiteY5" fmla="*/ 905828 h 905827"/>
                <a:gd name="connsiteX6" fmla="*/ 905828 w 905827"/>
                <a:gd name="connsiteY6" fmla="*/ 825818 h 905827"/>
                <a:gd name="connsiteX7" fmla="*/ 905828 w 905827"/>
                <a:gd name="connsiteY7" fmla="*/ 80010 h 905827"/>
                <a:gd name="connsiteX8" fmla="*/ 824865 w 905827"/>
                <a:gd name="connsiteY8" fmla="*/ 0 h 905827"/>
                <a:gd name="connsiteX9" fmla="*/ 692468 w 905827"/>
                <a:gd name="connsiteY9" fmla="*/ 463868 h 905827"/>
                <a:gd name="connsiteX10" fmla="*/ 511493 w 905827"/>
                <a:gd name="connsiteY10" fmla="*/ 644843 h 905827"/>
                <a:gd name="connsiteX11" fmla="*/ 488633 w 905827"/>
                <a:gd name="connsiteY11" fmla="*/ 644843 h 905827"/>
                <a:gd name="connsiteX12" fmla="*/ 454343 w 905827"/>
                <a:gd name="connsiteY12" fmla="*/ 610553 h 905827"/>
                <a:gd name="connsiteX13" fmla="*/ 454343 w 905827"/>
                <a:gd name="connsiteY13" fmla="*/ 587693 h 905827"/>
                <a:gd name="connsiteX14" fmla="*/ 549593 w 905827"/>
                <a:gd name="connsiteY14" fmla="*/ 492443 h 905827"/>
                <a:gd name="connsiteX15" fmla="*/ 216218 w 905827"/>
                <a:gd name="connsiteY15" fmla="*/ 492443 h 905827"/>
                <a:gd name="connsiteX16" fmla="*/ 200025 w 905827"/>
                <a:gd name="connsiteY16" fmla="*/ 476250 h 905827"/>
                <a:gd name="connsiteX17" fmla="*/ 200025 w 905827"/>
                <a:gd name="connsiteY17" fmla="*/ 428625 h 905827"/>
                <a:gd name="connsiteX18" fmla="*/ 216218 w 905827"/>
                <a:gd name="connsiteY18" fmla="*/ 412433 h 905827"/>
                <a:gd name="connsiteX19" fmla="*/ 549593 w 905827"/>
                <a:gd name="connsiteY19" fmla="*/ 412433 h 905827"/>
                <a:gd name="connsiteX20" fmla="*/ 454343 w 905827"/>
                <a:gd name="connsiteY20" fmla="*/ 317183 h 905827"/>
                <a:gd name="connsiteX21" fmla="*/ 454343 w 905827"/>
                <a:gd name="connsiteY21" fmla="*/ 294323 h 905827"/>
                <a:gd name="connsiteX22" fmla="*/ 488633 w 905827"/>
                <a:gd name="connsiteY22" fmla="*/ 260033 h 905827"/>
                <a:gd name="connsiteX23" fmla="*/ 511493 w 905827"/>
                <a:gd name="connsiteY23" fmla="*/ 260033 h 905827"/>
                <a:gd name="connsiteX24" fmla="*/ 692468 w 905827"/>
                <a:gd name="connsiteY24" fmla="*/ 441008 h 905827"/>
                <a:gd name="connsiteX25" fmla="*/ 692468 w 905827"/>
                <a:gd name="connsiteY25" fmla="*/ 463868 h 90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05827" h="905827">
                  <a:moveTo>
                    <a:pt x="824865" y="0"/>
                  </a:moveTo>
                  <a:lnTo>
                    <a:pt x="80010" y="0"/>
                  </a:lnTo>
                  <a:cubicBezTo>
                    <a:pt x="36195" y="0"/>
                    <a:pt x="0" y="35243"/>
                    <a:pt x="0" y="80010"/>
                  </a:cubicBezTo>
                  <a:lnTo>
                    <a:pt x="0" y="825818"/>
                  </a:lnTo>
                  <a:cubicBezTo>
                    <a:pt x="0" y="869633"/>
                    <a:pt x="35243" y="905828"/>
                    <a:pt x="80010" y="905828"/>
                  </a:cubicBezTo>
                  <a:lnTo>
                    <a:pt x="825818" y="905828"/>
                  </a:lnTo>
                  <a:cubicBezTo>
                    <a:pt x="869633" y="905828"/>
                    <a:pt x="905828" y="870585"/>
                    <a:pt x="905828" y="825818"/>
                  </a:cubicBezTo>
                  <a:lnTo>
                    <a:pt x="905828" y="80010"/>
                  </a:lnTo>
                  <a:cubicBezTo>
                    <a:pt x="904875" y="35243"/>
                    <a:pt x="869633" y="0"/>
                    <a:pt x="824865" y="0"/>
                  </a:cubicBezTo>
                  <a:close/>
                  <a:moveTo>
                    <a:pt x="692468" y="463868"/>
                  </a:moveTo>
                  <a:lnTo>
                    <a:pt x="511493" y="644843"/>
                  </a:lnTo>
                  <a:cubicBezTo>
                    <a:pt x="504825" y="651510"/>
                    <a:pt x="495300" y="651510"/>
                    <a:pt x="488633" y="644843"/>
                  </a:cubicBezTo>
                  <a:lnTo>
                    <a:pt x="454343" y="610553"/>
                  </a:lnTo>
                  <a:cubicBezTo>
                    <a:pt x="447675" y="603885"/>
                    <a:pt x="447675" y="594360"/>
                    <a:pt x="454343" y="587693"/>
                  </a:cubicBezTo>
                  <a:lnTo>
                    <a:pt x="549593" y="492443"/>
                  </a:lnTo>
                  <a:lnTo>
                    <a:pt x="216218" y="492443"/>
                  </a:lnTo>
                  <a:cubicBezTo>
                    <a:pt x="207645" y="492443"/>
                    <a:pt x="200025" y="485775"/>
                    <a:pt x="200025" y="476250"/>
                  </a:cubicBezTo>
                  <a:lnTo>
                    <a:pt x="200025" y="428625"/>
                  </a:lnTo>
                  <a:cubicBezTo>
                    <a:pt x="200025" y="420053"/>
                    <a:pt x="206693" y="412433"/>
                    <a:pt x="216218" y="412433"/>
                  </a:cubicBezTo>
                  <a:lnTo>
                    <a:pt x="549593" y="412433"/>
                  </a:lnTo>
                  <a:lnTo>
                    <a:pt x="454343" y="317183"/>
                  </a:lnTo>
                  <a:cubicBezTo>
                    <a:pt x="447675" y="310515"/>
                    <a:pt x="447675" y="300990"/>
                    <a:pt x="454343" y="294323"/>
                  </a:cubicBezTo>
                  <a:lnTo>
                    <a:pt x="488633" y="260033"/>
                  </a:lnTo>
                  <a:cubicBezTo>
                    <a:pt x="495300" y="253365"/>
                    <a:pt x="504825" y="253365"/>
                    <a:pt x="511493" y="260033"/>
                  </a:cubicBezTo>
                  <a:lnTo>
                    <a:pt x="692468" y="441008"/>
                  </a:lnTo>
                  <a:cubicBezTo>
                    <a:pt x="698183" y="447675"/>
                    <a:pt x="698183" y="457200"/>
                    <a:pt x="692468" y="46386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61" name="Text Placeholder 3">
              <a:extLst>
                <a:ext uri="{FF2B5EF4-FFF2-40B4-BE49-F238E27FC236}">
                  <a16:creationId xmlns:a16="http://schemas.microsoft.com/office/drawing/2014/main" id="{A2E2F47A-619C-86E7-27CC-91023E2B6309}"/>
                </a:ext>
              </a:extLst>
            </p:cNvPr>
            <p:cNvSpPr txBox="1">
              <a:spLocks/>
            </p:cNvSpPr>
            <p:nvPr/>
          </p:nvSpPr>
          <p:spPr>
            <a:xfrm>
              <a:off x="1066800" y="1929933"/>
              <a:ext cx="9684000" cy="450617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>
              <a:lvl1pPr marL="0" indent="0" algn="l" defTabSz="548640" rtl="0" eaLnBrk="1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600"/>
                </a:spcAft>
                <a:buClr>
                  <a:srgbClr val="00ADCA"/>
                </a:buClr>
                <a:buFont typeface="Arial"/>
                <a:buNone/>
                <a:defRPr lang="en-US" sz="3200" b="1" kern="1200" cap="none" baseline="0" dirty="0" smtClean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352425" indent="-323850" algn="l" defTabSz="54864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600"/>
                </a:spcAft>
                <a:buClr>
                  <a:schemeClr val="accent1"/>
                </a:buClr>
                <a:buSzPct val="100000"/>
                <a:buFont typeface="Arial" charset="0"/>
                <a:buChar char="•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973138" indent="-309563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Wingdings" charset="2"/>
                <a:buChar char="§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547813" indent="-382588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/>
                <a:buChar char="–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290763" indent="-371475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.AppleSystemUIFont" charset="-120"/>
                <a:buChar char="-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301752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1167"/>
                </a:spcBef>
                <a:spcAft>
                  <a:spcPts val="0"/>
                </a:spcAft>
                <a:buClr>
                  <a:srgbClr val="00B050"/>
                </a:buClr>
              </a:pPr>
              <a:r>
                <a:rPr lang="en-US" sz="1600" b="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</p:grp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990ECD9A-D63A-EDC9-38B7-712CA3E00894}"/>
              </a:ext>
            </a:extLst>
          </p:cNvPr>
          <p:cNvCxnSpPr>
            <a:cxnSpLocks/>
          </p:cNvCxnSpPr>
          <p:nvPr/>
        </p:nvCxnSpPr>
        <p:spPr>
          <a:xfrm>
            <a:off x="550862" y="5420849"/>
            <a:ext cx="110556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Group 62">
            <a:extLst>
              <a:ext uri="{FF2B5EF4-FFF2-40B4-BE49-F238E27FC236}">
                <a16:creationId xmlns:a16="http://schemas.microsoft.com/office/drawing/2014/main" id="{1545E365-EF19-A239-176C-245BED036165}"/>
              </a:ext>
            </a:extLst>
          </p:cNvPr>
          <p:cNvGrpSpPr/>
          <p:nvPr/>
        </p:nvGrpSpPr>
        <p:grpSpPr>
          <a:xfrm>
            <a:off x="550862" y="5562600"/>
            <a:ext cx="10199938" cy="450617"/>
            <a:chOff x="550862" y="1929933"/>
            <a:chExt cx="10199938" cy="450617"/>
          </a:xfrm>
        </p:grpSpPr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CC85037F-31EE-3655-2F2E-8087F6FA89B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0862" y="1950146"/>
              <a:ext cx="410191" cy="410191"/>
            </a:xfrm>
            <a:custGeom>
              <a:avLst/>
              <a:gdLst>
                <a:gd name="connsiteX0" fmla="*/ 824865 w 905827"/>
                <a:gd name="connsiteY0" fmla="*/ 0 h 905827"/>
                <a:gd name="connsiteX1" fmla="*/ 80010 w 905827"/>
                <a:gd name="connsiteY1" fmla="*/ 0 h 905827"/>
                <a:gd name="connsiteX2" fmla="*/ 0 w 905827"/>
                <a:gd name="connsiteY2" fmla="*/ 80010 h 905827"/>
                <a:gd name="connsiteX3" fmla="*/ 0 w 905827"/>
                <a:gd name="connsiteY3" fmla="*/ 825818 h 905827"/>
                <a:gd name="connsiteX4" fmla="*/ 80010 w 905827"/>
                <a:gd name="connsiteY4" fmla="*/ 905828 h 905827"/>
                <a:gd name="connsiteX5" fmla="*/ 825818 w 905827"/>
                <a:gd name="connsiteY5" fmla="*/ 905828 h 905827"/>
                <a:gd name="connsiteX6" fmla="*/ 905828 w 905827"/>
                <a:gd name="connsiteY6" fmla="*/ 825818 h 905827"/>
                <a:gd name="connsiteX7" fmla="*/ 905828 w 905827"/>
                <a:gd name="connsiteY7" fmla="*/ 80010 h 905827"/>
                <a:gd name="connsiteX8" fmla="*/ 824865 w 905827"/>
                <a:gd name="connsiteY8" fmla="*/ 0 h 905827"/>
                <a:gd name="connsiteX9" fmla="*/ 692468 w 905827"/>
                <a:gd name="connsiteY9" fmla="*/ 463868 h 905827"/>
                <a:gd name="connsiteX10" fmla="*/ 511493 w 905827"/>
                <a:gd name="connsiteY10" fmla="*/ 644843 h 905827"/>
                <a:gd name="connsiteX11" fmla="*/ 488633 w 905827"/>
                <a:gd name="connsiteY11" fmla="*/ 644843 h 905827"/>
                <a:gd name="connsiteX12" fmla="*/ 454343 w 905827"/>
                <a:gd name="connsiteY12" fmla="*/ 610553 h 905827"/>
                <a:gd name="connsiteX13" fmla="*/ 454343 w 905827"/>
                <a:gd name="connsiteY13" fmla="*/ 587693 h 905827"/>
                <a:gd name="connsiteX14" fmla="*/ 549593 w 905827"/>
                <a:gd name="connsiteY14" fmla="*/ 492443 h 905827"/>
                <a:gd name="connsiteX15" fmla="*/ 216218 w 905827"/>
                <a:gd name="connsiteY15" fmla="*/ 492443 h 905827"/>
                <a:gd name="connsiteX16" fmla="*/ 200025 w 905827"/>
                <a:gd name="connsiteY16" fmla="*/ 476250 h 905827"/>
                <a:gd name="connsiteX17" fmla="*/ 200025 w 905827"/>
                <a:gd name="connsiteY17" fmla="*/ 428625 h 905827"/>
                <a:gd name="connsiteX18" fmla="*/ 216218 w 905827"/>
                <a:gd name="connsiteY18" fmla="*/ 412433 h 905827"/>
                <a:gd name="connsiteX19" fmla="*/ 549593 w 905827"/>
                <a:gd name="connsiteY19" fmla="*/ 412433 h 905827"/>
                <a:gd name="connsiteX20" fmla="*/ 454343 w 905827"/>
                <a:gd name="connsiteY20" fmla="*/ 317183 h 905827"/>
                <a:gd name="connsiteX21" fmla="*/ 454343 w 905827"/>
                <a:gd name="connsiteY21" fmla="*/ 294323 h 905827"/>
                <a:gd name="connsiteX22" fmla="*/ 488633 w 905827"/>
                <a:gd name="connsiteY22" fmla="*/ 260033 h 905827"/>
                <a:gd name="connsiteX23" fmla="*/ 511493 w 905827"/>
                <a:gd name="connsiteY23" fmla="*/ 260033 h 905827"/>
                <a:gd name="connsiteX24" fmla="*/ 692468 w 905827"/>
                <a:gd name="connsiteY24" fmla="*/ 441008 h 905827"/>
                <a:gd name="connsiteX25" fmla="*/ 692468 w 905827"/>
                <a:gd name="connsiteY25" fmla="*/ 463868 h 90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05827" h="905827">
                  <a:moveTo>
                    <a:pt x="824865" y="0"/>
                  </a:moveTo>
                  <a:lnTo>
                    <a:pt x="80010" y="0"/>
                  </a:lnTo>
                  <a:cubicBezTo>
                    <a:pt x="36195" y="0"/>
                    <a:pt x="0" y="35243"/>
                    <a:pt x="0" y="80010"/>
                  </a:cubicBezTo>
                  <a:lnTo>
                    <a:pt x="0" y="825818"/>
                  </a:lnTo>
                  <a:cubicBezTo>
                    <a:pt x="0" y="869633"/>
                    <a:pt x="35243" y="905828"/>
                    <a:pt x="80010" y="905828"/>
                  </a:cubicBezTo>
                  <a:lnTo>
                    <a:pt x="825818" y="905828"/>
                  </a:lnTo>
                  <a:cubicBezTo>
                    <a:pt x="869633" y="905828"/>
                    <a:pt x="905828" y="870585"/>
                    <a:pt x="905828" y="825818"/>
                  </a:cubicBezTo>
                  <a:lnTo>
                    <a:pt x="905828" y="80010"/>
                  </a:lnTo>
                  <a:cubicBezTo>
                    <a:pt x="904875" y="35243"/>
                    <a:pt x="869633" y="0"/>
                    <a:pt x="824865" y="0"/>
                  </a:cubicBezTo>
                  <a:close/>
                  <a:moveTo>
                    <a:pt x="692468" y="463868"/>
                  </a:moveTo>
                  <a:lnTo>
                    <a:pt x="511493" y="644843"/>
                  </a:lnTo>
                  <a:cubicBezTo>
                    <a:pt x="504825" y="651510"/>
                    <a:pt x="495300" y="651510"/>
                    <a:pt x="488633" y="644843"/>
                  </a:cubicBezTo>
                  <a:lnTo>
                    <a:pt x="454343" y="610553"/>
                  </a:lnTo>
                  <a:cubicBezTo>
                    <a:pt x="447675" y="603885"/>
                    <a:pt x="447675" y="594360"/>
                    <a:pt x="454343" y="587693"/>
                  </a:cubicBezTo>
                  <a:lnTo>
                    <a:pt x="549593" y="492443"/>
                  </a:lnTo>
                  <a:lnTo>
                    <a:pt x="216218" y="492443"/>
                  </a:lnTo>
                  <a:cubicBezTo>
                    <a:pt x="207645" y="492443"/>
                    <a:pt x="200025" y="485775"/>
                    <a:pt x="200025" y="476250"/>
                  </a:cubicBezTo>
                  <a:lnTo>
                    <a:pt x="200025" y="428625"/>
                  </a:lnTo>
                  <a:cubicBezTo>
                    <a:pt x="200025" y="420053"/>
                    <a:pt x="206693" y="412433"/>
                    <a:pt x="216218" y="412433"/>
                  </a:cubicBezTo>
                  <a:lnTo>
                    <a:pt x="549593" y="412433"/>
                  </a:lnTo>
                  <a:lnTo>
                    <a:pt x="454343" y="317183"/>
                  </a:lnTo>
                  <a:cubicBezTo>
                    <a:pt x="447675" y="310515"/>
                    <a:pt x="447675" y="300990"/>
                    <a:pt x="454343" y="294323"/>
                  </a:cubicBezTo>
                  <a:lnTo>
                    <a:pt x="488633" y="260033"/>
                  </a:lnTo>
                  <a:cubicBezTo>
                    <a:pt x="495300" y="253365"/>
                    <a:pt x="504825" y="253365"/>
                    <a:pt x="511493" y="260033"/>
                  </a:cubicBezTo>
                  <a:lnTo>
                    <a:pt x="692468" y="441008"/>
                  </a:lnTo>
                  <a:cubicBezTo>
                    <a:pt x="698183" y="447675"/>
                    <a:pt x="698183" y="457200"/>
                    <a:pt x="692468" y="46386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65" name="Text Placeholder 3">
              <a:extLst>
                <a:ext uri="{FF2B5EF4-FFF2-40B4-BE49-F238E27FC236}">
                  <a16:creationId xmlns:a16="http://schemas.microsoft.com/office/drawing/2014/main" id="{5A6B29EC-8FD3-141F-F81B-D5F2D6127B23}"/>
                </a:ext>
              </a:extLst>
            </p:cNvPr>
            <p:cNvSpPr txBox="1">
              <a:spLocks/>
            </p:cNvSpPr>
            <p:nvPr/>
          </p:nvSpPr>
          <p:spPr>
            <a:xfrm>
              <a:off x="1066800" y="1929933"/>
              <a:ext cx="9684000" cy="450617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>
              <a:lvl1pPr marL="0" indent="0" algn="l" defTabSz="548640" rtl="0" eaLnBrk="1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600"/>
                </a:spcAft>
                <a:buClr>
                  <a:srgbClr val="00ADCA"/>
                </a:buClr>
                <a:buFont typeface="Arial"/>
                <a:buNone/>
                <a:defRPr lang="en-US" sz="3200" b="1" kern="1200" cap="none" baseline="0" dirty="0" smtClean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352425" indent="-323850" algn="l" defTabSz="54864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600"/>
                </a:spcAft>
                <a:buClr>
                  <a:schemeClr val="accent1"/>
                </a:buClr>
                <a:buSzPct val="100000"/>
                <a:buFont typeface="Arial" charset="0"/>
                <a:buChar char="•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973138" indent="-309563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Wingdings" charset="2"/>
                <a:buChar char="§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547813" indent="-382588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/>
                <a:buChar char="–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290763" indent="-371475" algn="l" defTabSz="54864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.AppleSystemUIFont" charset="-120"/>
                <a:buChar char="-"/>
                <a:tabLst/>
                <a:defRPr sz="3200" kern="120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301752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6616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1480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63440" indent="-274320" algn="l" defTabSz="54864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1167"/>
                </a:spcBef>
                <a:spcAft>
                  <a:spcPts val="0"/>
                </a:spcAft>
                <a:buClr>
                  <a:srgbClr val="00B050"/>
                </a:buClr>
              </a:pPr>
              <a:r>
                <a:rPr lang="en-US" sz="1600" b="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rPr>
                <a:t>Insert Text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761024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1</TotalTime>
  <Words>21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71</cp:revision>
  <dcterms:created xsi:type="dcterms:W3CDTF">2021-03-31T02:49:57Z</dcterms:created>
  <dcterms:modified xsi:type="dcterms:W3CDTF">2025-10-15T02:40:41Z</dcterms:modified>
  <cp:category/>
</cp:coreProperties>
</file>